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6" r:id="rId2"/>
  </p:sldIdLst>
  <p:sldSz cx="30275213" cy="42803763"/>
  <p:notesSz cx="9926638" cy="14355763"/>
  <p:custDataLst>
    <p:tags r:id="rId5"/>
  </p:custDataLst>
  <p:defaultTextStyle>
    <a:defPPr>
      <a:defRPr lang="de-DE"/>
    </a:defPPr>
    <a:lvl1pPr marL="0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1pPr>
    <a:lvl2pPr marL="2087941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2pPr>
    <a:lvl3pPr marL="4175882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3pPr>
    <a:lvl4pPr marL="6263823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4pPr>
    <a:lvl5pPr marL="8351764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5pPr>
    <a:lvl6pPr marL="10439705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6pPr>
    <a:lvl7pPr marL="12527646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7pPr>
    <a:lvl8pPr marL="14615587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8pPr>
    <a:lvl9pPr marL="16703528" algn="l" defTabSz="4175882" rtl="0" eaLnBrk="1" latinLnBrk="0" hangingPunct="1">
      <a:defRPr sz="822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3959874-1CF5-4C55-83CC-57DEB98FE2D7}">
          <p14:sldIdLst>
            <p14:sldId id="346"/>
          </p14:sldIdLst>
        </p14:section>
      </p14:sectionLst>
    </p:ext>
    <p:ext uri="{EFAFB233-063F-42B5-8137-9DF3F51BA10A}">
      <p15:sldGuideLst xmlns:p15="http://schemas.microsoft.com/office/powerpoint/2012/main">
        <p15:guide id="2" pos="917" userDrawn="1">
          <p15:clr>
            <a:srgbClr val="A4A3A4"/>
          </p15:clr>
        </p15:guide>
        <p15:guide id="6" pos="18154" userDrawn="1">
          <p15:clr>
            <a:srgbClr val="A4A3A4"/>
          </p15:clr>
        </p15:guide>
        <p15:guide id="8" orient="horz" pos="12960" userDrawn="1">
          <p15:clr>
            <a:srgbClr val="A4A3A4"/>
          </p15:clr>
        </p15:guide>
        <p15:guide id="9" orient="horz" pos="7426" userDrawn="1">
          <p15:clr>
            <a:srgbClr val="A4A3A4"/>
          </p15:clr>
        </p15:guide>
        <p15:guide id="10" orient="horz" pos="14071" userDrawn="1">
          <p15:clr>
            <a:srgbClr val="A4A3A4"/>
          </p15:clr>
        </p15:guide>
        <p15:guide id="11" orient="horz" pos="19605" userDrawn="1">
          <p15:clr>
            <a:srgbClr val="A4A3A4"/>
          </p15:clr>
        </p15:guide>
        <p15:guide id="12" orient="horz" pos="20739" userDrawn="1">
          <p15:clr>
            <a:srgbClr val="A4A3A4"/>
          </p15:clr>
        </p15:guide>
        <p15:guide id="13" orient="horz" pos="26250" userDrawn="1">
          <p15:clr>
            <a:srgbClr val="A4A3A4"/>
          </p15:clr>
        </p15:guide>
        <p15:guide id="14" orient="horz" pos="7721" userDrawn="1">
          <p15:clr>
            <a:srgbClr val="A4A3A4"/>
          </p15:clr>
        </p15:guide>
        <p15:guide id="15" orient="horz" pos="12665" userDrawn="1">
          <p15:clr>
            <a:srgbClr val="A4A3A4"/>
          </p15:clr>
        </p15:guide>
        <p15:guide id="16" pos="17746" userDrawn="1">
          <p15:clr>
            <a:srgbClr val="A4A3A4"/>
          </p15:clr>
        </p15:guide>
        <p15:guide id="17" orient="horz" pos="14366" userDrawn="1">
          <p15:clr>
            <a:srgbClr val="A4A3A4"/>
          </p15:clr>
        </p15:guide>
        <p15:guide id="18" orient="horz" pos="19310" userDrawn="1">
          <p15:clr>
            <a:srgbClr val="A4A3A4"/>
          </p15:clr>
        </p15:guide>
        <p15:guide id="19" pos="2936" userDrawn="1">
          <p15:clr>
            <a:srgbClr val="A4A3A4"/>
          </p15:clr>
        </p15:guide>
        <p15:guide id="20" orient="horz" pos="21034" userDrawn="1">
          <p15:clr>
            <a:srgbClr val="A4A3A4"/>
          </p15:clr>
        </p15:guide>
        <p15:guide id="21" orient="horz" pos="25978" userDrawn="1">
          <p15:clr>
            <a:srgbClr val="A4A3A4"/>
          </p15:clr>
        </p15:guide>
        <p15:guide id="22" orient="horz" pos="3820" userDrawn="1">
          <p15:clr>
            <a:srgbClr val="A4A3A4"/>
          </p15:clr>
        </p15:guide>
        <p15:guide id="23" orient="horz" pos="64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2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700"/>
    <a:srgbClr val="404040"/>
    <a:srgbClr val="002557"/>
    <a:srgbClr val="A80000"/>
    <a:srgbClr val="009644"/>
    <a:srgbClr val="FFFFCC"/>
    <a:srgbClr val="009241"/>
    <a:srgbClr val="F2F2F2"/>
    <a:srgbClr val="22AD36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26" autoAdjust="0"/>
    <p:restoredTop sz="86421" autoAdjust="0"/>
  </p:normalViewPr>
  <p:slideViewPr>
    <p:cSldViewPr>
      <p:cViewPr>
        <p:scale>
          <a:sx n="25" d="100"/>
          <a:sy n="25" d="100"/>
        </p:scale>
        <p:origin x="2274" y="18"/>
      </p:cViewPr>
      <p:guideLst>
        <p:guide pos="917"/>
        <p:guide pos="18154"/>
        <p:guide orient="horz" pos="12960"/>
        <p:guide orient="horz" pos="7426"/>
        <p:guide orient="horz" pos="14071"/>
        <p:guide orient="horz" pos="19605"/>
        <p:guide orient="horz" pos="20739"/>
        <p:guide orient="horz" pos="26250"/>
        <p:guide orient="horz" pos="7721"/>
        <p:guide orient="horz" pos="12665"/>
        <p:guide pos="17746"/>
        <p:guide orient="horz" pos="14366"/>
        <p:guide orient="horz" pos="19310"/>
        <p:guide pos="2936"/>
        <p:guide orient="horz" pos="21034"/>
        <p:guide orient="horz" pos="25978"/>
        <p:guide orient="horz" pos="3820"/>
        <p:guide orient="horz" pos="64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70" d="100"/>
          <a:sy n="70" d="100"/>
        </p:scale>
        <p:origin x="2190" y="78"/>
      </p:cViewPr>
      <p:guideLst>
        <p:guide orient="horz" pos="4522"/>
        <p:guide pos="312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1543" cy="717788"/>
          </a:xfrm>
          <a:prstGeom prst="rect">
            <a:avLst/>
          </a:prstGeom>
        </p:spPr>
        <p:txBody>
          <a:bodyPr vert="horz" lIns="132752" tIns="66377" rIns="132752" bIns="66377" rtlCol="0"/>
          <a:lstStyle>
            <a:lvl1pPr algn="l">
              <a:defRPr sz="1700"/>
            </a:lvl1pPr>
          </a:lstStyle>
          <a:p>
            <a:endParaRPr lang="de-L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0" y="0"/>
            <a:ext cx="4301543" cy="717788"/>
          </a:xfrm>
          <a:prstGeom prst="rect">
            <a:avLst/>
          </a:prstGeom>
        </p:spPr>
        <p:txBody>
          <a:bodyPr vert="horz" lIns="132752" tIns="66377" rIns="132752" bIns="66377" rtlCol="0"/>
          <a:lstStyle>
            <a:lvl1pPr algn="r">
              <a:defRPr sz="1700"/>
            </a:lvl1pPr>
          </a:lstStyle>
          <a:p>
            <a:fld id="{C018CAB8-1F61-49D8-8340-04BCC7D2C15D}" type="datetimeFigureOut">
              <a:rPr lang="de-LU" smtClean="0"/>
              <a:pPr/>
              <a:t>19.12.2016</a:t>
            </a:fld>
            <a:endParaRPr lang="de-L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13635483"/>
            <a:ext cx="4301543" cy="717788"/>
          </a:xfrm>
          <a:prstGeom prst="rect">
            <a:avLst/>
          </a:prstGeom>
        </p:spPr>
        <p:txBody>
          <a:bodyPr vert="horz" lIns="132752" tIns="66377" rIns="132752" bIns="66377" rtlCol="0" anchor="b"/>
          <a:lstStyle>
            <a:lvl1pPr algn="l">
              <a:defRPr sz="1700"/>
            </a:lvl1pPr>
          </a:lstStyle>
          <a:p>
            <a:endParaRPr lang="de-L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0" y="13635483"/>
            <a:ext cx="4301543" cy="717788"/>
          </a:xfrm>
          <a:prstGeom prst="rect">
            <a:avLst/>
          </a:prstGeom>
        </p:spPr>
        <p:txBody>
          <a:bodyPr vert="horz" lIns="132752" tIns="66377" rIns="132752" bIns="66377" rtlCol="0" anchor="b"/>
          <a:lstStyle>
            <a:lvl1pPr algn="r">
              <a:defRPr sz="1700"/>
            </a:lvl1pPr>
          </a:lstStyle>
          <a:p>
            <a:fld id="{E9BF0D3E-1C11-4BC7-888D-E90D04E946F0}" type="slidenum">
              <a:rPr lang="de-LU" smtClean="0"/>
              <a:pPr/>
              <a:t>‹Nr.›</a:t>
            </a:fld>
            <a:endParaRPr lang="de-LU" dirty="0"/>
          </a:p>
        </p:txBody>
      </p:sp>
    </p:spTree>
    <p:extLst>
      <p:ext uri="{BB962C8B-B14F-4D97-AF65-F5344CB8AC3E}">
        <p14:creationId xmlns:p14="http://schemas.microsoft.com/office/powerpoint/2010/main" val="182631768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1543" cy="717788"/>
          </a:xfrm>
          <a:prstGeom prst="rect">
            <a:avLst/>
          </a:prstGeom>
        </p:spPr>
        <p:txBody>
          <a:bodyPr vert="horz" lIns="132752" tIns="66377" rIns="132752" bIns="66377" rtlCol="0"/>
          <a:lstStyle>
            <a:lvl1pPr algn="l">
              <a:defRPr sz="1700"/>
            </a:lvl1pPr>
          </a:lstStyle>
          <a:p>
            <a:endParaRPr lang="de-L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0" y="0"/>
            <a:ext cx="4301543" cy="717788"/>
          </a:xfrm>
          <a:prstGeom prst="rect">
            <a:avLst/>
          </a:prstGeom>
        </p:spPr>
        <p:txBody>
          <a:bodyPr vert="horz" lIns="132752" tIns="66377" rIns="132752" bIns="66377" rtlCol="0"/>
          <a:lstStyle>
            <a:lvl1pPr algn="r">
              <a:defRPr sz="1700"/>
            </a:lvl1pPr>
          </a:lstStyle>
          <a:p>
            <a:fld id="{8B9FABE9-F223-40F4-B29B-AF42B1456244}" type="datetimeFigureOut">
              <a:rPr lang="de-LU" smtClean="0"/>
              <a:pPr/>
              <a:t>19.12.2016</a:t>
            </a:fld>
            <a:endParaRPr lang="de-LU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059113" y="1076325"/>
            <a:ext cx="3810000" cy="538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2752" tIns="66377" rIns="132752" bIns="66377" rtlCol="0" anchor="ctr"/>
          <a:lstStyle/>
          <a:p>
            <a:endParaRPr lang="de-LU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6818990"/>
            <a:ext cx="7941310" cy="6460093"/>
          </a:xfrm>
          <a:prstGeom prst="rect">
            <a:avLst/>
          </a:prstGeom>
        </p:spPr>
        <p:txBody>
          <a:bodyPr vert="horz" lIns="132752" tIns="66377" rIns="132752" bIns="66377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LU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13635483"/>
            <a:ext cx="4301543" cy="717788"/>
          </a:xfrm>
          <a:prstGeom prst="rect">
            <a:avLst/>
          </a:prstGeom>
        </p:spPr>
        <p:txBody>
          <a:bodyPr vert="horz" lIns="132752" tIns="66377" rIns="132752" bIns="66377" rtlCol="0" anchor="b"/>
          <a:lstStyle>
            <a:lvl1pPr algn="l">
              <a:defRPr sz="1700"/>
            </a:lvl1pPr>
          </a:lstStyle>
          <a:p>
            <a:endParaRPr lang="de-LU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0" y="13635483"/>
            <a:ext cx="4301543" cy="717788"/>
          </a:xfrm>
          <a:prstGeom prst="rect">
            <a:avLst/>
          </a:prstGeom>
        </p:spPr>
        <p:txBody>
          <a:bodyPr vert="horz" lIns="132752" tIns="66377" rIns="132752" bIns="66377" rtlCol="0" anchor="b"/>
          <a:lstStyle>
            <a:lvl1pPr algn="r">
              <a:defRPr sz="1700"/>
            </a:lvl1pPr>
          </a:lstStyle>
          <a:p>
            <a:fld id="{97667336-ABAD-4032-8A72-A57DA0F2B670}" type="slidenum">
              <a:rPr lang="de-LU" smtClean="0"/>
              <a:pPr/>
              <a:t>‹Nr.›</a:t>
            </a:fld>
            <a:endParaRPr lang="de-LU" dirty="0"/>
          </a:p>
        </p:txBody>
      </p:sp>
    </p:spTree>
    <p:extLst>
      <p:ext uri="{BB962C8B-B14F-4D97-AF65-F5344CB8AC3E}">
        <p14:creationId xmlns:p14="http://schemas.microsoft.com/office/powerpoint/2010/main" val="32163668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1pPr>
    <a:lvl2pPr marL="2087941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2pPr>
    <a:lvl3pPr marL="4175882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3pPr>
    <a:lvl4pPr marL="6263823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4pPr>
    <a:lvl5pPr marL="8351764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5pPr>
    <a:lvl6pPr marL="10439705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6pPr>
    <a:lvl7pPr marL="12527646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7pPr>
    <a:lvl8pPr marL="14615587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8pPr>
    <a:lvl9pPr marL="16703528" algn="l" defTabSz="4175882" rtl="0" eaLnBrk="1" latinLnBrk="0" hangingPunct="1">
      <a:defRPr sz="54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0997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3" y="0"/>
            <a:ext cx="30275220" cy="4299981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220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56085" y="663577"/>
            <a:ext cx="5742544" cy="3125467"/>
          </a:xfrm>
          <a:prstGeom prst="rect">
            <a:avLst/>
          </a:prstGeom>
        </p:spPr>
      </p:pic>
      <p:sp>
        <p:nvSpPr>
          <p:cNvPr id="24" name="Rechteck 23"/>
          <p:cNvSpPr/>
          <p:nvPr userDrawn="1"/>
        </p:nvSpPr>
        <p:spPr>
          <a:xfrm>
            <a:off x="15354" y="10464216"/>
            <a:ext cx="30275220" cy="288032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220" noProof="0" dirty="0"/>
          </a:p>
        </p:txBody>
      </p:sp>
      <p:sp>
        <p:nvSpPr>
          <p:cNvPr id="42" name="Rechteck 41"/>
          <p:cNvSpPr/>
          <p:nvPr userDrawn="1"/>
        </p:nvSpPr>
        <p:spPr>
          <a:xfrm>
            <a:off x="-1" y="-1"/>
            <a:ext cx="30275213" cy="42803763"/>
          </a:xfrm>
          <a:prstGeom prst="rect">
            <a:avLst/>
          </a:prstGeom>
          <a:noFill/>
          <a:ln w="635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/>
          </a:p>
        </p:txBody>
      </p:sp>
      <p:sp>
        <p:nvSpPr>
          <p:cNvPr id="19" name="Rechteck 18"/>
          <p:cNvSpPr/>
          <p:nvPr userDrawn="1"/>
        </p:nvSpPr>
        <p:spPr>
          <a:xfrm>
            <a:off x="-1" y="4299981"/>
            <a:ext cx="30275213" cy="1080120"/>
          </a:xfrm>
          <a:prstGeom prst="rect">
            <a:avLst/>
          </a:prstGeom>
          <a:solidFill>
            <a:schemeClr val="bg2">
              <a:lumMod val="50000"/>
            </a:schemeClr>
          </a:solidFill>
          <a:ln w="5080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LU" dirty="0"/>
          </a:p>
        </p:txBody>
      </p:sp>
      <p:sp>
        <p:nvSpPr>
          <p:cNvPr id="23" name="Textfeld 22"/>
          <p:cNvSpPr txBox="1"/>
          <p:nvPr userDrawn="1"/>
        </p:nvSpPr>
        <p:spPr>
          <a:xfrm>
            <a:off x="3963352" y="4696025"/>
            <a:ext cx="26691978" cy="553998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  <a:latin typeface="Verdana" pitchFamily="34" charset="0"/>
              </a:rPr>
              <a:t>My University</a:t>
            </a:r>
            <a:r>
              <a:rPr lang="en-US" sz="3600" b="0" baseline="0" dirty="0" smtClean="0">
                <a:solidFill>
                  <a:schemeClr val="bg1"/>
                </a:solidFill>
                <a:latin typeface="Verdana" pitchFamily="34" charset="0"/>
              </a:rPr>
              <a:t>, </a:t>
            </a:r>
            <a:r>
              <a:rPr lang="en-US" sz="3600" dirty="0" smtClean="0">
                <a:solidFill>
                  <a:schemeClr val="bg1"/>
                </a:solidFill>
                <a:latin typeface="Verdana" pitchFamily="34" charset="0"/>
              </a:rPr>
              <a:t>My Department, (My Professor)</a:t>
            </a:r>
            <a:endParaRPr lang="en-US" sz="3600" dirty="0">
              <a:solidFill>
                <a:schemeClr val="bg1"/>
              </a:solidFill>
              <a:latin typeface="Verdana" pitchFamily="34" charset="0"/>
            </a:endParaRP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04143" y="663577"/>
            <a:ext cx="10415332" cy="312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170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000" b="1" i="0" kern="1200" baseline="0">
          <a:solidFill>
            <a:schemeClr val="bg2"/>
          </a:solidFill>
          <a:latin typeface="Verdana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2400" kern="1200" baseline="0">
          <a:solidFill>
            <a:srgbClr val="0B2A51"/>
          </a:solidFill>
          <a:latin typeface="Verdana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2100" kern="1200" baseline="0">
          <a:solidFill>
            <a:srgbClr val="0B2A51"/>
          </a:solidFill>
          <a:latin typeface="Verdana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Symbol" pitchFamily="18" charset="2"/>
        <a:buChar char="-"/>
        <a:defRPr sz="1800" kern="1200" baseline="0">
          <a:solidFill>
            <a:srgbClr val="0B2A51"/>
          </a:solidFill>
          <a:latin typeface="Verdana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Wingdings" pitchFamily="2" charset="2"/>
        <a:buChar char="§"/>
        <a:defRPr sz="1600" kern="1200" baseline="0">
          <a:solidFill>
            <a:srgbClr val="0B2A51"/>
          </a:solidFill>
          <a:latin typeface="Verdana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 baseline="0">
          <a:solidFill>
            <a:srgbClr val="0B2A5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18154" userDrawn="1">
          <p15:clr>
            <a:srgbClr val="F26B43"/>
          </p15:clr>
        </p15:guide>
        <p15:guide id="3" pos="91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hteck 62"/>
          <p:cNvSpPr/>
          <p:nvPr/>
        </p:nvSpPr>
        <p:spPr>
          <a:xfrm>
            <a:off x="4046386" y="32886899"/>
            <a:ext cx="24773089" cy="8784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0F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7" name="Gruppieren 36"/>
          <p:cNvGrpSpPr/>
          <p:nvPr/>
        </p:nvGrpSpPr>
        <p:grpSpPr>
          <a:xfrm>
            <a:off x="1708114" y="6064177"/>
            <a:ext cx="24770752" cy="4112007"/>
            <a:chOff x="2752230" y="6064177"/>
            <a:chExt cx="24770752" cy="4112007"/>
          </a:xfrm>
        </p:grpSpPr>
        <p:sp>
          <p:nvSpPr>
            <p:cNvPr id="38" name="Textfeld 37"/>
            <p:cNvSpPr txBox="1"/>
            <p:nvPr userDrawn="1"/>
          </p:nvSpPr>
          <p:spPr>
            <a:xfrm>
              <a:off x="2752230" y="6064177"/>
              <a:ext cx="23294588" cy="2280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 dirty="0" smtClean="0">
                  <a:solidFill>
                    <a:srgbClr val="404040"/>
                  </a:solidFill>
                </a:rPr>
                <a:t>Main title</a:t>
              </a:r>
              <a:endParaRPr lang="en-US" sz="1100" b="1" baseline="0" dirty="0" smtClean="0">
                <a:solidFill>
                  <a:srgbClr val="404040"/>
                </a:solidFill>
              </a:endParaRPr>
            </a:p>
            <a:p>
              <a:pPr algn="l"/>
              <a:r>
                <a:rPr lang="en-US" sz="6000" b="1" i="1" dirty="0" smtClean="0">
                  <a:solidFill>
                    <a:srgbClr val="404040"/>
                  </a:solidFill>
                </a:rPr>
                <a:t>Subtitle</a:t>
              </a:r>
              <a:endParaRPr lang="en-US" sz="6000" b="1" i="1" dirty="0">
                <a:solidFill>
                  <a:srgbClr val="404040"/>
                </a:solidFill>
              </a:endParaRPr>
            </a:p>
          </p:txBody>
        </p:sp>
        <p:sp>
          <p:nvSpPr>
            <p:cNvPr id="39" name="Textfeld 38"/>
            <p:cNvSpPr txBox="1"/>
            <p:nvPr userDrawn="1"/>
          </p:nvSpPr>
          <p:spPr>
            <a:xfrm>
              <a:off x="2752230" y="9160521"/>
              <a:ext cx="2477075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360000"/>
              <a:r>
                <a:rPr lang="en-US" sz="6000" b="0" i="0" dirty="0" smtClean="0">
                  <a:solidFill>
                    <a:srgbClr val="404040"/>
                  </a:solidFill>
                </a:rPr>
                <a:t>Doctoral</a:t>
              </a:r>
              <a:r>
                <a:rPr lang="en-US" sz="6000" b="0" i="0" baseline="0" dirty="0" smtClean="0">
                  <a:solidFill>
                    <a:srgbClr val="404040"/>
                  </a:solidFill>
                </a:rPr>
                <a:t> Student:			</a:t>
              </a:r>
              <a:r>
                <a:rPr lang="en-US" sz="6000" b="0" i="0" baseline="0" dirty="0" err="1" smtClean="0">
                  <a:solidFill>
                    <a:srgbClr val="404040"/>
                  </a:solidFill>
                </a:rPr>
                <a:t>FirstName</a:t>
              </a:r>
              <a:r>
                <a:rPr lang="en-US" sz="6000" b="0" i="0" baseline="0" dirty="0" smtClean="0">
                  <a:solidFill>
                    <a:srgbClr val="404040"/>
                  </a:solidFill>
                </a:rPr>
                <a:t> </a:t>
              </a:r>
              <a:r>
                <a:rPr lang="en-US" sz="6000" b="0" i="0" baseline="0" dirty="0" err="1" smtClean="0">
                  <a:solidFill>
                    <a:srgbClr val="404040"/>
                  </a:solidFill>
                </a:rPr>
                <a:t>LastName</a:t>
              </a:r>
              <a:endParaRPr lang="en-US" sz="4000" b="0" i="1" dirty="0">
                <a:solidFill>
                  <a:srgbClr val="404040"/>
                </a:solidFill>
              </a:endParaRPr>
            </a:p>
          </p:txBody>
        </p:sp>
      </p:grpSp>
      <p:sp>
        <p:nvSpPr>
          <p:cNvPr id="53" name="Rechteck 52"/>
          <p:cNvSpPr/>
          <p:nvPr userDrawn="1"/>
        </p:nvSpPr>
        <p:spPr>
          <a:xfrm>
            <a:off x="4046384" y="22337985"/>
            <a:ext cx="24773089" cy="8784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0F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4" name="Rechteck 53"/>
          <p:cNvSpPr/>
          <p:nvPr userDrawn="1"/>
        </p:nvSpPr>
        <p:spPr>
          <a:xfrm>
            <a:off x="1492090" y="22337985"/>
            <a:ext cx="1827820" cy="8784976"/>
          </a:xfrm>
          <a:prstGeom prst="rect">
            <a:avLst/>
          </a:prstGeom>
          <a:solidFill>
            <a:srgbClr val="FFC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6600" b="1" dirty="0"/>
              <a:t>Research Design</a:t>
            </a:r>
          </a:p>
        </p:txBody>
      </p:sp>
      <p:sp>
        <p:nvSpPr>
          <p:cNvPr id="73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6569" y="22830182"/>
            <a:ext cx="10941531" cy="7828207"/>
          </a:xfrm>
          <a:prstGeom prst="rect">
            <a:avLst/>
          </a:prstGeom>
          <a:solidFill>
            <a:schemeClr val="bg1"/>
          </a:solidFill>
          <a:ln w="50800">
            <a:solidFill>
              <a:srgbClr val="404040"/>
            </a:solidFill>
            <a:miter lim="800000"/>
            <a:headEnd/>
            <a:tailEnd/>
          </a:ln>
          <a:effectLst/>
        </p:spPr>
        <p:txBody>
          <a:bodyPr vert="horz" wrap="square" lIns="250907" tIns="301091" rIns="250907" bIns="130472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tx1"/>
              </a:buClr>
            </a:pPr>
            <a:endParaRPr lang="en-US" dirty="0"/>
          </a:p>
        </p:txBody>
      </p:sp>
      <p:sp>
        <p:nvSpPr>
          <p:cNvPr id="107" name="Rechteck 106"/>
          <p:cNvSpPr/>
          <p:nvPr/>
        </p:nvSpPr>
        <p:spPr>
          <a:xfrm>
            <a:off x="4046384" y="11789024"/>
            <a:ext cx="24773089" cy="8784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F0F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220" noProof="0" dirty="0"/>
          </a:p>
        </p:txBody>
      </p:sp>
      <p:sp>
        <p:nvSpPr>
          <p:cNvPr id="108" name="Rechteck 107"/>
          <p:cNvSpPr/>
          <p:nvPr/>
        </p:nvSpPr>
        <p:spPr>
          <a:xfrm>
            <a:off x="1492090" y="11789024"/>
            <a:ext cx="1827820" cy="8784976"/>
          </a:xfrm>
          <a:prstGeom prst="rect">
            <a:avLst/>
          </a:prstGeom>
          <a:solidFill>
            <a:srgbClr val="FFC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6600" b="1" noProof="0" dirty="0" smtClean="0"/>
              <a:t>Motivation</a:t>
            </a:r>
            <a:endParaRPr lang="en-US" sz="6600" b="1" noProof="0" dirty="0"/>
          </a:p>
        </p:txBody>
      </p:sp>
      <p:grpSp>
        <p:nvGrpSpPr>
          <p:cNvPr id="125" name="Gruppieren 124"/>
          <p:cNvGrpSpPr/>
          <p:nvPr/>
        </p:nvGrpSpPr>
        <p:grpSpPr>
          <a:xfrm>
            <a:off x="17981924" y="12284989"/>
            <a:ext cx="10189132" cy="3648263"/>
            <a:chOff x="17981922" y="22830182"/>
            <a:chExt cx="10189132" cy="3648263"/>
          </a:xfrm>
        </p:grpSpPr>
        <p:sp>
          <p:nvSpPr>
            <p:cNvPr id="126" name="Rechteck 125"/>
            <p:cNvSpPr/>
            <p:nvPr/>
          </p:nvSpPr>
          <p:spPr>
            <a:xfrm>
              <a:off x="17981922" y="22830182"/>
              <a:ext cx="10189132" cy="623927"/>
            </a:xfrm>
            <a:prstGeom prst="rect">
              <a:avLst/>
            </a:prstGeom>
            <a:solidFill>
              <a:srgbClr val="40404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000" b="1" dirty="0" smtClean="0"/>
                <a:t>Main </a:t>
              </a:r>
              <a:r>
                <a:rPr lang="en-US" sz="4000" b="1" dirty="0" smtClean="0"/>
                <a:t>Assumptions</a:t>
              </a:r>
              <a:endParaRPr lang="en-US" sz="1600" b="1" dirty="0"/>
            </a:p>
          </p:txBody>
        </p:sp>
        <p:sp>
          <p:nvSpPr>
            <p:cNvPr id="127" name="Rechteck 126"/>
            <p:cNvSpPr/>
            <p:nvPr/>
          </p:nvSpPr>
          <p:spPr>
            <a:xfrm>
              <a:off x="17981922" y="23634129"/>
              <a:ext cx="10189132" cy="284431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rgbClr val="404040"/>
                  </a:solidFill>
                </a:rPr>
                <a:t>Aaa</a:t>
              </a:r>
              <a:r>
                <a:rPr lang="de-DE" sz="3600" dirty="0" smtClean="0">
                  <a:solidFill>
                    <a:srgbClr val="404040"/>
                  </a:solidFill>
                </a:rPr>
                <a:t> </a:t>
              </a:r>
              <a:r>
                <a:rPr lang="de-DE" sz="3600" dirty="0" err="1" smtClean="0">
                  <a:solidFill>
                    <a:srgbClr val="404040"/>
                  </a:solidFill>
                </a:rPr>
                <a:t>bbb</a:t>
              </a:r>
              <a:r>
                <a:rPr lang="de-DE" sz="3600" dirty="0" smtClean="0">
                  <a:solidFill>
                    <a:srgbClr val="404040"/>
                  </a:solidFill>
                </a:rPr>
                <a:t> ccc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rgbClr val="404040"/>
                  </a:solidFill>
                </a:rPr>
                <a:t>Ddd</a:t>
              </a:r>
              <a:r>
                <a:rPr lang="de-DE" sz="3600" dirty="0" smtClean="0">
                  <a:solidFill>
                    <a:srgbClr val="404040"/>
                  </a:solidFill>
                </a:rPr>
                <a:t> </a:t>
              </a:r>
              <a:r>
                <a:rPr lang="de-DE" sz="3600" dirty="0" err="1" smtClean="0">
                  <a:solidFill>
                    <a:srgbClr val="404040"/>
                  </a:solidFill>
                </a:rPr>
                <a:t>eee</a:t>
              </a:r>
              <a:r>
                <a:rPr lang="de-DE" sz="3600" dirty="0" smtClean="0">
                  <a:solidFill>
                    <a:srgbClr val="404040"/>
                  </a:solidFill>
                </a:rPr>
                <a:t> fff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rgbClr val="404040"/>
                  </a:solidFill>
                </a:rPr>
                <a:t>Hhh</a:t>
              </a:r>
              <a:r>
                <a:rPr lang="de-DE" sz="3600" dirty="0" smtClean="0">
                  <a:solidFill>
                    <a:srgbClr val="404040"/>
                  </a:solidFill>
                </a:rPr>
                <a:t> iii </a:t>
              </a:r>
              <a:r>
                <a:rPr lang="de-DE" sz="3600" dirty="0" err="1" smtClean="0">
                  <a:solidFill>
                    <a:srgbClr val="404040"/>
                  </a:solidFill>
                </a:rPr>
                <a:t>jjj</a:t>
              </a:r>
              <a:endParaRPr lang="de-DE" sz="3600" dirty="0" smtClean="0">
                <a:solidFill>
                  <a:srgbClr val="404040"/>
                </a:solidFill>
              </a:endParaRP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de-DE" sz="3600" dirty="0">
                <a:solidFill>
                  <a:schemeClr val="tx1"/>
                </a:solidFill>
              </a:endParaRP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en-US" sz="3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8" name="Gruppieren 127"/>
          <p:cNvGrpSpPr/>
          <p:nvPr/>
        </p:nvGrpSpPr>
        <p:grpSpPr>
          <a:xfrm>
            <a:off x="17981925" y="16464932"/>
            <a:ext cx="10189132" cy="3648263"/>
            <a:chOff x="18134322" y="22982582"/>
            <a:chExt cx="10189132" cy="3648263"/>
          </a:xfrm>
        </p:grpSpPr>
        <p:sp>
          <p:nvSpPr>
            <p:cNvPr id="129" name="Rechteck 128"/>
            <p:cNvSpPr/>
            <p:nvPr/>
          </p:nvSpPr>
          <p:spPr>
            <a:xfrm>
              <a:off x="18134322" y="22982582"/>
              <a:ext cx="10189132" cy="623927"/>
            </a:xfrm>
            <a:prstGeom prst="rect">
              <a:avLst/>
            </a:prstGeom>
            <a:solidFill>
              <a:srgbClr val="40404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4000" b="1" dirty="0" smtClean="0"/>
                <a:t>Processed</a:t>
              </a:r>
              <a:r>
                <a:rPr lang="de-DE" sz="4000" b="1" dirty="0" smtClean="0"/>
                <a:t> Data</a:t>
              </a:r>
              <a:endParaRPr lang="en-US" sz="1600" b="1" dirty="0"/>
            </a:p>
          </p:txBody>
        </p:sp>
        <p:sp>
          <p:nvSpPr>
            <p:cNvPr id="130" name="Rechteck 129"/>
            <p:cNvSpPr/>
            <p:nvPr/>
          </p:nvSpPr>
          <p:spPr>
            <a:xfrm>
              <a:off x="18134322" y="23786529"/>
              <a:ext cx="10189132" cy="2844316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>
                  <a:solidFill>
                    <a:srgbClr val="404040"/>
                  </a:solidFill>
                </a:rPr>
                <a:t>Aaa</a:t>
              </a:r>
              <a:r>
                <a:rPr lang="de-DE" sz="3600" dirty="0">
                  <a:solidFill>
                    <a:srgbClr val="404040"/>
                  </a:solidFill>
                </a:rPr>
                <a:t> </a:t>
              </a:r>
              <a:r>
                <a:rPr lang="de-DE" sz="3600" dirty="0" err="1">
                  <a:solidFill>
                    <a:srgbClr val="404040"/>
                  </a:solidFill>
                </a:rPr>
                <a:t>bbb</a:t>
              </a:r>
              <a:r>
                <a:rPr lang="de-DE" sz="3600" dirty="0">
                  <a:solidFill>
                    <a:srgbClr val="404040"/>
                  </a:solidFill>
                </a:rPr>
                <a:t> ccc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>
                  <a:solidFill>
                    <a:srgbClr val="404040"/>
                  </a:solidFill>
                </a:rPr>
                <a:t>Ddd</a:t>
              </a:r>
              <a:r>
                <a:rPr lang="de-DE" sz="3600" dirty="0">
                  <a:solidFill>
                    <a:srgbClr val="404040"/>
                  </a:solidFill>
                </a:rPr>
                <a:t> </a:t>
              </a:r>
              <a:r>
                <a:rPr lang="de-DE" sz="3600" dirty="0" err="1">
                  <a:solidFill>
                    <a:srgbClr val="404040"/>
                  </a:solidFill>
                </a:rPr>
                <a:t>eee</a:t>
              </a:r>
              <a:r>
                <a:rPr lang="de-DE" sz="3600" dirty="0">
                  <a:solidFill>
                    <a:srgbClr val="404040"/>
                  </a:solidFill>
                </a:rPr>
                <a:t> fff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>
                  <a:solidFill>
                    <a:srgbClr val="404040"/>
                  </a:solidFill>
                </a:rPr>
                <a:t>Hhh</a:t>
              </a:r>
              <a:r>
                <a:rPr lang="de-DE" sz="3600" dirty="0">
                  <a:solidFill>
                    <a:srgbClr val="404040"/>
                  </a:solidFill>
                </a:rPr>
                <a:t> iii </a:t>
              </a:r>
              <a:r>
                <a:rPr lang="de-DE" sz="3600" dirty="0" err="1">
                  <a:solidFill>
                    <a:srgbClr val="404040"/>
                  </a:solidFill>
                </a:rPr>
                <a:t>jjj</a:t>
              </a:r>
              <a:endParaRPr lang="de-DE" sz="3600" dirty="0">
                <a:solidFill>
                  <a:srgbClr val="404040"/>
                </a:solidFill>
              </a:endParaRPr>
            </a:p>
          </p:txBody>
        </p:sp>
      </p:grpSp>
      <p:sp>
        <p:nvSpPr>
          <p:cNvPr id="160" name="Rechteck 159"/>
          <p:cNvSpPr/>
          <p:nvPr userDrawn="1"/>
        </p:nvSpPr>
        <p:spPr>
          <a:xfrm>
            <a:off x="1492090" y="32913188"/>
            <a:ext cx="1827820" cy="8784976"/>
          </a:xfrm>
          <a:prstGeom prst="rect">
            <a:avLst/>
          </a:prstGeom>
          <a:solidFill>
            <a:srgbClr val="FFC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6600" b="1" noProof="0" dirty="0" smtClean="0"/>
              <a:t>(Expected) Results</a:t>
            </a:r>
            <a:endParaRPr lang="en-US" sz="6600" b="1" noProof="0" dirty="0"/>
          </a:p>
        </p:txBody>
      </p:sp>
      <p:grpSp>
        <p:nvGrpSpPr>
          <p:cNvPr id="14" name="Gruppieren 13"/>
          <p:cNvGrpSpPr/>
          <p:nvPr/>
        </p:nvGrpSpPr>
        <p:grpSpPr>
          <a:xfrm>
            <a:off x="4696446" y="33405020"/>
            <a:ext cx="10189132" cy="2002417"/>
            <a:chOff x="4676245" y="33405020"/>
            <a:chExt cx="10189132" cy="2002417"/>
          </a:xfrm>
        </p:grpSpPr>
        <p:sp>
          <p:nvSpPr>
            <p:cNvPr id="163" name="Rechteck 162"/>
            <p:cNvSpPr/>
            <p:nvPr/>
          </p:nvSpPr>
          <p:spPr>
            <a:xfrm>
              <a:off x="5596547" y="33405020"/>
              <a:ext cx="9268830" cy="623927"/>
            </a:xfrm>
            <a:prstGeom prst="rect">
              <a:avLst/>
            </a:prstGeom>
            <a:solidFill>
              <a:srgbClr val="009644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000" b="1" dirty="0" smtClean="0"/>
                <a:t>Main </a:t>
              </a:r>
              <a:r>
                <a:rPr lang="en-US" sz="4000" b="1" dirty="0" smtClean="0"/>
                <a:t>Assumptions</a:t>
              </a:r>
              <a:endParaRPr lang="en-US" sz="1600" b="1" dirty="0"/>
            </a:p>
          </p:txBody>
        </p:sp>
        <p:sp>
          <p:nvSpPr>
            <p:cNvPr id="164" name="Rechteck 163"/>
            <p:cNvSpPr/>
            <p:nvPr/>
          </p:nvSpPr>
          <p:spPr>
            <a:xfrm>
              <a:off x="4676245" y="34208967"/>
              <a:ext cx="10189132" cy="119847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rgbClr val="404040"/>
                  </a:solidFill>
                </a:rPr>
                <a:t>Aaa</a:t>
              </a:r>
              <a:r>
                <a:rPr lang="de-DE" sz="3600" dirty="0" smtClean="0">
                  <a:solidFill>
                    <a:srgbClr val="404040"/>
                  </a:solidFill>
                </a:rPr>
                <a:t> </a:t>
              </a:r>
              <a:r>
                <a:rPr lang="de-DE" sz="3600" dirty="0" err="1" smtClean="0">
                  <a:solidFill>
                    <a:srgbClr val="404040"/>
                  </a:solidFill>
                </a:rPr>
                <a:t>bbb</a:t>
              </a:r>
              <a:r>
                <a:rPr lang="de-DE" sz="3600" dirty="0" smtClean="0">
                  <a:solidFill>
                    <a:srgbClr val="404040"/>
                  </a:solidFill>
                </a:rPr>
                <a:t> ccc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rgbClr val="404040"/>
                  </a:solidFill>
                </a:rPr>
                <a:t>Ddd</a:t>
              </a:r>
              <a:r>
                <a:rPr lang="de-DE" sz="3600" dirty="0" smtClean="0">
                  <a:solidFill>
                    <a:srgbClr val="404040"/>
                  </a:solidFill>
                </a:rPr>
                <a:t> </a:t>
              </a:r>
              <a:r>
                <a:rPr lang="de-DE" sz="3600" dirty="0" err="1" smtClean="0">
                  <a:solidFill>
                    <a:srgbClr val="404040"/>
                  </a:solidFill>
                </a:rPr>
                <a:t>eee</a:t>
              </a:r>
              <a:r>
                <a:rPr lang="de-DE" sz="3600" dirty="0" smtClean="0">
                  <a:solidFill>
                    <a:srgbClr val="404040"/>
                  </a:solidFill>
                </a:rPr>
                <a:t> fff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de-DE" sz="3600" dirty="0">
                <a:solidFill>
                  <a:schemeClr val="tx1"/>
                </a:solidFill>
              </a:endParaRP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en-US" sz="3600" dirty="0">
                <a:solidFill>
                  <a:schemeClr val="tx1"/>
                </a:solidFill>
              </a:endParaRPr>
            </a:p>
          </p:txBody>
        </p:sp>
        <p:sp>
          <p:nvSpPr>
            <p:cNvPr id="165" name="Rechteck 164"/>
            <p:cNvSpPr/>
            <p:nvPr/>
          </p:nvSpPr>
          <p:spPr>
            <a:xfrm>
              <a:off x="4676245" y="33405021"/>
              <a:ext cx="627871" cy="623927"/>
            </a:xfrm>
            <a:prstGeom prst="rect">
              <a:avLst/>
            </a:prstGeom>
            <a:solidFill>
              <a:srgbClr val="009644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400" b="1" i="1" dirty="0"/>
                <a:t>1.</a:t>
              </a:r>
              <a:endParaRPr lang="en-US" sz="4400" b="1" i="1" dirty="0"/>
            </a:p>
          </p:txBody>
        </p:sp>
      </p:grpSp>
      <p:grpSp>
        <p:nvGrpSpPr>
          <p:cNvPr id="166" name="Gruppieren 165"/>
          <p:cNvGrpSpPr/>
          <p:nvPr/>
        </p:nvGrpSpPr>
        <p:grpSpPr>
          <a:xfrm>
            <a:off x="4696446" y="36152423"/>
            <a:ext cx="10189132" cy="2002417"/>
            <a:chOff x="4676245" y="33405020"/>
            <a:chExt cx="10189132" cy="2002417"/>
          </a:xfrm>
        </p:grpSpPr>
        <p:sp>
          <p:nvSpPr>
            <p:cNvPr id="167" name="Rechteck 166"/>
            <p:cNvSpPr/>
            <p:nvPr/>
          </p:nvSpPr>
          <p:spPr>
            <a:xfrm>
              <a:off x="5596547" y="33405020"/>
              <a:ext cx="9268830" cy="623927"/>
            </a:xfrm>
            <a:prstGeom prst="rect">
              <a:avLst/>
            </a:prstGeom>
            <a:solidFill>
              <a:srgbClr val="A8000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000" b="1" dirty="0" smtClean="0"/>
                <a:t>Main </a:t>
              </a:r>
              <a:r>
                <a:rPr lang="en-US" sz="4000" b="1" dirty="0" smtClean="0"/>
                <a:t>Assumptions</a:t>
              </a:r>
              <a:endParaRPr lang="en-US" sz="1600" b="1" dirty="0"/>
            </a:p>
          </p:txBody>
        </p:sp>
        <p:sp>
          <p:nvSpPr>
            <p:cNvPr id="168" name="Rechteck 167"/>
            <p:cNvSpPr/>
            <p:nvPr/>
          </p:nvSpPr>
          <p:spPr>
            <a:xfrm>
              <a:off x="4676245" y="34208967"/>
              <a:ext cx="10189132" cy="119847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rgbClr val="404040"/>
                  </a:solidFill>
                </a:rPr>
                <a:t>Aaa</a:t>
              </a:r>
              <a:r>
                <a:rPr lang="de-DE" sz="3600" dirty="0" smtClean="0">
                  <a:solidFill>
                    <a:srgbClr val="404040"/>
                  </a:solidFill>
                </a:rPr>
                <a:t> </a:t>
              </a:r>
              <a:r>
                <a:rPr lang="de-DE" sz="3600" dirty="0" err="1" smtClean="0">
                  <a:solidFill>
                    <a:srgbClr val="404040"/>
                  </a:solidFill>
                </a:rPr>
                <a:t>bbb</a:t>
              </a:r>
              <a:r>
                <a:rPr lang="de-DE" sz="3600" dirty="0" smtClean="0">
                  <a:solidFill>
                    <a:srgbClr val="404040"/>
                  </a:solidFill>
                </a:rPr>
                <a:t> ccc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rgbClr val="404040"/>
                  </a:solidFill>
                </a:rPr>
                <a:t>Ddd</a:t>
              </a:r>
              <a:r>
                <a:rPr lang="de-DE" sz="3600" dirty="0" smtClean="0">
                  <a:solidFill>
                    <a:srgbClr val="404040"/>
                  </a:solidFill>
                </a:rPr>
                <a:t> </a:t>
              </a:r>
              <a:r>
                <a:rPr lang="de-DE" sz="3600" dirty="0" err="1" smtClean="0">
                  <a:solidFill>
                    <a:srgbClr val="404040"/>
                  </a:solidFill>
                </a:rPr>
                <a:t>eee</a:t>
              </a:r>
              <a:r>
                <a:rPr lang="de-DE" sz="3600" dirty="0" smtClean="0">
                  <a:solidFill>
                    <a:srgbClr val="404040"/>
                  </a:solidFill>
                </a:rPr>
                <a:t> fff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de-DE" sz="3600" dirty="0">
                <a:solidFill>
                  <a:schemeClr val="tx1"/>
                </a:solidFill>
              </a:endParaRP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en-US" sz="3600" dirty="0">
                <a:solidFill>
                  <a:schemeClr val="tx1"/>
                </a:solidFill>
              </a:endParaRPr>
            </a:p>
          </p:txBody>
        </p:sp>
        <p:sp>
          <p:nvSpPr>
            <p:cNvPr id="169" name="Rechteck 168"/>
            <p:cNvSpPr/>
            <p:nvPr/>
          </p:nvSpPr>
          <p:spPr>
            <a:xfrm>
              <a:off x="4676245" y="33405021"/>
              <a:ext cx="627871" cy="623927"/>
            </a:xfrm>
            <a:prstGeom prst="rect">
              <a:avLst/>
            </a:prstGeom>
            <a:solidFill>
              <a:srgbClr val="A80000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400" b="1" i="1" dirty="0"/>
                <a:t>2.</a:t>
              </a:r>
              <a:endParaRPr lang="en-US" sz="4400" b="1" i="1" dirty="0"/>
            </a:p>
          </p:txBody>
        </p:sp>
      </p:grpSp>
      <p:grpSp>
        <p:nvGrpSpPr>
          <p:cNvPr id="170" name="Gruppieren 169"/>
          <p:cNvGrpSpPr/>
          <p:nvPr/>
        </p:nvGrpSpPr>
        <p:grpSpPr>
          <a:xfrm>
            <a:off x="4696446" y="38899825"/>
            <a:ext cx="10189132" cy="2002417"/>
            <a:chOff x="4676245" y="33405020"/>
            <a:chExt cx="10189132" cy="2002417"/>
          </a:xfrm>
        </p:grpSpPr>
        <p:sp>
          <p:nvSpPr>
            <p:cNvPr id="171" name="Rechteck 170"/>
            <p:cNvSpPr/>
            <p:nvPr/>
          </p:nvSpPr>
          <p:spPr>
            <a:xfrm>
              <a:off x="5596547" y="33405020"/>
              <a:ext cx="9268830" cy="623927"/>
            </a:xfrm>
            <a:prstGeom prst="rect">
              <a:avLst/>
            </a:prstGeom>
            <a:solidFill>
              <a:srgbClr val="002557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000" b="1" dirty="0" smtClean="0"/>
                <a:t>Main </a:t>
              </a:r>
              <a:r>
                <a:rPr lang="en-US" sz="4000" b="1" dirty="0" smtClean="0"/>
                <a:t>Assumptions</a:t>
              </a:r>
              <a:endParaRPr lang="en-US" sz="1600" b="1" dirty="0"/>
            </a:p>
          </p:txBody>
        </p:sp>
        <p:sp>
          <p:nvSpPr>
            <p:cNvPr id="172" name="Rechteck 171"/>
            <p:cNvSpPr/>
            <p:nvPr/>
          </p:nvSpPr>
          <p:spPr>
            <a:xfrm>
              <a:off x="4676245" y="34208967"/>
              <a:ext cx="10189132" cy="1198470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5200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rgbClr val="404040"/>
                  </a:solidFill>
                </a:rPr>
                <a:t>Aaa</a:t>
              </a:r>
              <a:r>
                <a:rPr lang="de-DE" sz="3600" dirty="0" smtClean="0">
                  <a:solidFill>
                    <a:srgbClr val="404040"/>
                  </a:solidFill>
                </a:rPr>
                <a:t> </a:t>
              </a:r>
              <a:r>
                <a:rPr lang="de-DE" sz="3600" dirty="0" err="1" smtClean="0">
                  <a:solidFill>
                    <a:srgbClr val="404040"/>
                  </a:solidFill>
                </a:rPr>
                <a:t>bbb</a:t>
              </a:r>
              <a:r>
                <a:rPr lang="de-DE" sz="3600" dirty="0" smtClean="0">
                  <a:solidFill>
                    <a:srgbClr val="404040"/>
                  </a:solidFill>
                </a:rPr>
                <a:t> ccc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r>
                <a:rPr lang="de-DE" sz="3600" dirty="0" err="1" smtClean="0">
                  <a:solidFill>
                    <a:srgbClr val="404040"/>
                  </a:solidFill>
                </a:rPr>
                <a:t>Ddd</a:t>
              </a:r>
              <a:r>
                <a:rPr lang="de-DE" sz="3600" dirty="0" smtClean="0">
                  <a:solidFill>
                    <a:srgbClr val="404040"/>
                  </a:solidFill>
                </a:rPr>
                <a:t> </a:t>
              </a:r>
              <a:r>
                <a:rPr lang="de-DE" sz="3600" dirty="0" err="1" smtClean="0">
                  <a:solidFill>
                    <a:srgbClr val="404040"/>
                  </a:solidFill>
                </a:rPr>
                <a:t>eee</a:t>
              </a:r>
              <a:r>
                <a:rPr lang="de-DE" sz="3600" dirty="0" smtClean="0">
                  <a:solidFill>
                    <a:srgbClr val="404040"/>
                  </a:solidFill>
                </a:rPr>
                <a:t> fff</a:t>
              </a: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de-DE" sz="3600" dirty="0">
                <a:solidFill>
                  <a:schemeClr val="tx1"/>
                </a:solidFill>
              </a:endParaRPr>
            </a:p>
            <a:p>
              <a:pPr marL="571500" indent="-571500">
                <a:buFont typeface="Wingdings" panose="05000000000000000000" pitchFamily="2" charset="2"/>
                <a:buChar char="§"/>
              </a:pPr>
              <a:endParaRPr lang="en-US" sz="3600" dirty="0">
                <a:solidFill>
                  <a:schemeClr val="tx1"/>
                </a:solidFill>
              </a:endParaRPr>
            </a:p>
          </p:txBody>
        </p:sp>
        <p:sp>
          <p:nvSpPr>
            <p:cNvPr id="173" name="Rechteck 172"/>
            <p:cNvSpPr/>
            <p:nvPr/>
          </p:nvSpPr>
          <p:spPr>
            <a:xfrm>
              <a:off x="4676245" y="33405021"/>
              <a:ext cx="627871" cy="623927"/>
            </a:xfrm>
            <a:prstGeom prst="rect">
              <a:avLst/>
            </a:prstGeom>
            <a:solidFill>
              <a:srgbClr val="002557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4400" b="1" i="1" dirty="0" smtClean="0"/>
                <a:t>3.</a:t>
              </a:r>
              <a:endParaRPr lang="en-US" sz="4400" b="1" i="1" dirty="0"/>
            </a:p>
          </p:txBody>
        </p:sp>
      </p:grpSp>
      <p:sp>
        <p:nvSpPr>
          <p:cNvPr id="174" name="AutoShape 3"/>
          <p:cNvSpPr>
            <a:spLocks noChangeArrowheads="1"/>
          </p:cNvSpPr>
          <p:nvPr/>
        </p:nvSpPr>
        <p:spPr bwMode="auto">
          <a:xfrm>
            <a:off x="17107337" y="35236615"/>
            <a:ext cx="633045" cy="4137929"/>
          </a:xfrm>
          <a:prstGeom prst="homePlate">
            <a:avLst>
              <a:gd name="adj" fmla="val 100000"/>
            </a:avLst>
          </a:prstGeom>
          <a:solidFill>
            <a:srgbClr val="404040"/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endParaRPr lang="en-AU" dirty="0">
              <a:latin typeface="Arial" panose="020B0604020202020204" pitchFamily="34" charset="0"/>
            </a:endParaRPr>
          </a:p>
        </p:txBody>
      </p:sp>
      <p:sp>
        <p:nvSpPr>
          <p:cNvPr id="175" name="Rechteck 174"/>
          <p:cNvSpPr/>
          <p:nvPr/>
        </p:nvSpPr>
        <p:spPr>
          <a:xfrm>
            <a:off x="19962142" y="33409091"/>
            <a:ext cx="8209633" cy="7830984"/>
          </a:xfrm>
          <a:prstGeom prst="rect">
            <a:avLst/>
          </a:prstGeom>
          <a:noFill/>
          <a:ln w="50800">
            <a:solidFill>
              <a:srgbClr val="40404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/>
          </a:p>
        </p:txBody>
      </p:sp>
      <p:sp>
        <p:nvSpPr>
          <p:cNvPr id="55" name="Textfeld 54"/>
          <p:cNvSpPr txBox="1"/>
          <p:nvPr/>
        </p:nvSpPr>
        <p:spPr>
          <a:xfrm>
            <a:off x="4029840" y="42030234"/>
            <a:ext cx="23062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60000"/>
            <a:r>
              <a:rPr lang="en-US" sz="2000" dirty="0" smtClean="0">
                <a:solidFill>
                  <a:srgbClr val="404040"/>
                </a:solidFill>
              </a:rPr>
              <a:t>For further information: 	Author 1; Author 2.; Author 3:</a:t>
            </a:r>
            <a:r>
              <a:rPr lang="en-US" sz="2000" b="1" dirty="0" smtClean="0">
                <a:solidFill>
                  <a:srgbClr val="404040"/>
                </a:solidFill>
              </a:rPr>
              <a:t> Title of my publication</a:t>
            </a:r>
            <a:r>
              <a:rPr lang="en-US" sz="2000" dirty="0" smtClean="0">
                <a:solidFill>
                  <a:srgbClr val="404040"/>
                </a:solidFill>
              </a:rPr>
              <a:t>. Source of my publication, year.</a:t>
            </a:r>
            <a:endParaRPr lang="en-US" sz="2000" dirty="0">
              <a:solidFill>
                <a:srgbClr val="404040"/>
              </a:solidFill>
            </a:endParaRPr>
          </a:p>
        </p:txBody>
      </p:sp>
      <p:sp>
        <p:nvSpPr>
          <p:cNvPr id="57" name="Freeform 47"/>
          <p:cNvSpPr>
            <a:spLocks noEditPoints="1"/>
          </p:cNvSpPr>
          <p:nvPr/>
        </p:nvSpPr>
        <p:spPr bwMode="auto">
          <a:xfrm>
            <a:off x="25231529" y="6064250"/>
            <a:ext cx="3593183" cy="4166459"/>
          </a:xfrm>
          <a:custGeom>
            <a:avLst/>
            <a:gdLst>
              <a:gd name="T0" fmla="*/ 0 w 443"/>
              <a:gd name="T1" fmla="*/ 403 h 484"/>
              <a:gd name="T2" fmla="*/ 1 w 443"/>
              <a:gd name="T3" fmla="*/ 370 h 484"/>
              <a:gd name="T4" fmla="*/ 5 w 443"/>
              <a:gd name="T5" fmla="*/ 336 h 484"/>
              <a:gd name="T6" fmla="*/ 14 w 443"/>
              <a:gd name="T7" fmla="*/ 302 h 484"/>
              <a:gd name="T8" fmla="*/ 27 w 443"/>
              <a:gd name="T9" fmla="*/ 271 h 484"/>
              <a:gd name="T10" fmla="*/ 47 w 443"/>
              <a:gd name="T11" fmla="*/ 245 h 484"/>
              <a:gd name="T12" fmla="*/ 74 w 443"/>
              <a:gd name="T13" fmla="*/ 228 h 484"/>
              <a:gd name="T14" fmla="*/ 109 w 443"/>
              <a:gd name="T15" fmla="*/ 222 h 484"/>
              <a:gd name="T16" fmla="*/ 122 w 443"/>
              <a:gd name="T17" fmla="*/ 229 h 484"/>
              <a:gd name="T18" fmla="*/ 145 w 443"/>
              <a:gd name="T19" fmla="*/ 244 h 484"/>
              <a:gd name="T20" fmla="*/ 179 w 443"/>
              <a:gd name="T21" fmla="*/ 259 h 484"/>
              <a:gd name="T22" fmla="*/ 222 w 443"/>
              <a:gd name="T23" fmla="*/ 266 h 484"/>
              <a:gd name="T24" fmla="*/ 264 w 443"/>
              <a:gd name="T25" fmla="*/ 259 h 484"/>
              <a:gd name="T26" fmla="*/ 298 w 443"/>
              <a:gd name="T27" fmla="*/ 244 h 484"/>
              <a:gd name="T28" fmla="*/ 321 w 443"/>
              <a:gd name="T29" fmla="*/ 229 h 484"/>
              <a:gd name="T30" fmla="*/ 334 w 443"/>
              <a:gd name="T31" fmla="*/ 222 h 484"/>
              <a:gd name="T32" fmla="*/ 369 w 443"/>
              <a:gd name="T33" fmla="*/ 228 h 484"/>
              <a:gd name="T34" fmla="*/ 396 w 443"/>
              <a:gd name="T35" fmla="*/ 245 h 484"/>
              <a:gd name="T36" fmla="*/ 416 w 443"/>
              <a:gd name="T37" fmla="*/ 271 h 484"/>
              <a:gd name="T38" fmla="*/ 429 w 443"/>
              <a:gd name="T39" fmla="*/ 302 h 484"/>
              <a:gd name="T40" fmla="*/ 438 w 443"/>
              <a:gd name="T41" fmla="*/ 336 h 484"/>
              <a:gd name="T42" fmla="*/ 442 w 443"/>
              <a:gd name="T43" fmla="*/ 370 h 484"/>
              <a:gd name="T44" fmla="*/ 443 w 443"/>
              <a:gd name="T45" fmla="*/ 403 h 484"/>
              <a:gd name="T46" fmla="*/ 420 w 443"/>
              <a:gd name="T47" fmla="*/ 462 h 484"/>
              <a:gd name="T48" fmla="*/ 359 w 443"/>
              <a:gd name="T49" fmla="*/ 484 h 484"/>
              <a:gd name="T50" fmla="*/ 84 w 443"/>
              <a:gd name="T51" fmla="*/ 484 h 484"/>
              <a:gd name="T52" fmla="*/ 23 w 443"/>
              <a:gd name="T53" fmla="*/ 462 h 484"/>
              <a:gd name="T54" fmla="*/ 0 w 443"/>
              <a:gd name="T55" fmla="*/ 403 h 484"/>
              <a:gd name="T56" fmla="*/ 136 w 443"/>
              <a:gd name="T57" fmla="*/ 207 h 484"/>
              <a:gd name="T58" fmla="*/ 101 w 443"/>
              <a:gd name="T59" fmla="*/ 121 h 484"/>
              <a:gd name="T60" fmla="*/ 136 w 443"/>
              <a:gd name="T61" fmla="*/ 36 h 484"/>
              <a:gd name="T62" fmla="*/ 222 w 443"/>
              <a:gd name="T63" fmla="*/ 0 h 484"/>
              <a:gd name="T64" fmla="*/ 307 w 443"/>
              <a:gd name="T65" fmla="*/ 36 h 484"/>
              <a:gd name="T66" fmla="*/ 342 w 443"/>
              <a:gd name="T67" fmla="*/ 121 h 484"/>
              <a:gd name="T68" fmla="*/ 307 w 443"/>
              <a:gd name="T69" fmla="*/ 207 h 484"/>
              <a:gd name="T70" fmla="*/ 222 w 443"/>
              <a:gd name="T71" fmla="*/ 242 h 484"/>
              <a:gd name="T72" fmla="*/ 136 w 443"/>
              <a:gd name="T73" fmla="*/ 207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43" h="484">
                <a:moveTo>
                  <a:pt x="0" y="403"/>
                </a:moveTo>
                <a:cubicBezTo>
                  <a:pt x="0" y="392"/>
                  <a:pt x="0" y="381"/>
                  <a:pt x="1" y="370"/>
                </a:cubicBezTo>
                <a:cubicBezTo>
                  <a:pt x="2" y="359"/>
                  <a:pt x="3" y="348"/>
                  <a:pt x="5" y="336"/>
                </a:cubicBezTo>
                <a:cubicBezTo>
                  <a:pt x="8" y="323"/>
                  <a:pt x="10" y="312"/>
                  <a:pt x="14" y="302"/>
                </a:cubicBezTo>
                <a:cubicBezTo>
                  <a:pt x="17" y="291"/>
                  <a:pt x="22" y="281"/>
                  <a:pt x="27" y="271"/>
                </a:cubicBezTo>
                <a:cubicBezTo>
                  <a:pt x="33" y="261"/>
                  <a:pt x="39" y="252"/>
                  <a:pt x="47" y="245"/>
                </a:cubicBezTo>
                <a:cubicBezTo>
                  <a:pt x="54" y="238"/>
                  <a:pt x="63" y="233"/>
                  <a:pt x="74" y="228"/>
                </a:cubicBezTo>
                <a:cubicBezTo>
                  <a:pt x="84" y="224"/>
                  <a:pt x="96" y="222"/>
                  <a:pt x="109" y="222"/>
                </a:cubicBezTo>
                <a:cubicBezTo>
                  <a:pt x="111" y="222"/>
                  <a:pt x="115" y="224"/>
                  <a:pt x="122" y="229"/>
                </a:cubicBezTo>
                <a:cubicBezTo>
                  <a:pt x="129" y="233"/>
                  <a:pt x="137" y="238"/>
                  <a:pt x="145" y="244"/>
                </a:cubicBezTo>
                <a:cubicBezTo>
                  <a:pt x="154" y="250"/>
                  <a:pt x="166" y="255"/>
                  <a:pt x="179" y="259"/>
                </a:cubicBezTo>
                <a:cubicBezTo>
                  <a:pt x="193" y="264"/>
                  <a:pt x="207" y="266"/>
                  <a:pt x="222" y="266"/>
                </a:cubicBezTo>
                <a:cubicBezTo>
                  <a:pt x="236" y="266"/>
                  <a:pt x="250" y="264"/>
                  <a:pt x="264" y="259"/>
                </a:cubicBezTo>
                <a:cubicBezTo>
                  <a:pt x="278" y="255"/>
                  <a:pt x="289" y="250"/>
                  <a:pt x="298" y="244"/>
                </a:cubicBezTo>
                <a:cubicBezTo>
                  <a:pt x="306" y="238"/>
                  <a:pt x="314" y="233"/>
                  <a:pt x="321" y="229"/>
                </a:cubicBezTo>
                <a:cubicBezTo>
                  <a:pt x="328" y="224"/>
                  <a:pt x="332" y="222"/>
                  <a:pt x="334" y="222"/>
                </a:cubicBezTo>
                <a:cubicBezTo>
                  <a:pt x="347" y="222"/>
                  <a:pt x="359" y="224"/>
                  <a:pt x="369" y="228"/>
                </a:cubicBezTo>
                <a:cubicBezTo>
                  <a:pt x="380" y="233"/>
                  <a:pt x="389" y="238"/>
                  <a:pt x="396" y="245"/>
                </a:cubicBezTo>
                <a:cubicBezTo>
                  <a:pt x="404" y="252"/>
                  <a:pt x="410" y="261"/>
                  <a:pt x="416" y="271"/>
                </a:cubicBezTo>
                <a:cubicBezTo>
                  <a:pt x="422" y="281"/>
                  <a:pt x="426" y="291"/>
                  <a:pt x="429" y="302"/>
                </a:cubicBezTo>
                <a:cubicBezTo>
                  <a:pt x="433" y="312"/>
                  <a:pt x="436" y="323"/>
                  <a:pt x="438" y="336"/>
                </a:cubicBezTo>
                <a:cubicBezTo>
                  <a:pt x="440" y="348"/>
                  <a:pt x="441" y="359"/>
                  <a:pt x="442" y="370"/>
                </a:cubicBezTo>
                <a:cubicBezTo>
                  <a:pt x="443" y="381"/>
                  <a:pt x="443" y="392"/>
                  <a:pt x="443" y="403"/>
                </a:cubicBezTo>
                <a:cubicBezTo>
                  <a:pt x="443" y="428"/>
                  <a:pt x="436" y="448"/>
                  <a:pt x="420" y="462"/>
                </a:cubicBezTo>
                <a:cubicBezTo>
                  <a:pt x="405" y="477"/>
                  <a:pt x="385" y="484"/>
                  <a:pt x="359" y="484"/>
                </a:cubicBezTo>
                <a:lnTo>
                  <a:pt x="84" y="484"/>
                </a:lnTo>
                <a:cubicBezTo>
                  <a:pt x="58" y="484"/>
                  <a:pt x="38" y="477"/>
                  <a:pt x="23" y="462"/>
                </a:cubicBezTo>
                <a:cubicBezTo>
                  <a:pt x="7" y="448"/>
                  <a:pt x="0" y="428"/>
                  <a:pt x="0" y="403"/>
                </a:cubicBezTo>
                <a:close/>
                <a:moveTo>
                  <a:pt x="136" y="207"/>
                </a:moveTo>
                <a:cubicBezTo>
                  <a:pt x="112" y="183"/>
                  <a:pt x="101" y="155"/>
                  <a:pt x="101" y="121"/>
                </a:cubicBezTo>
                <a:cubicBezTo>
                  <a:pt x="101" y="88"/>
                  <a:pt x="112" y="59"/>
                  <a:pt x="136" y="36"/>
                </a:cubicBezTo>
                <a:cubicBezTo>
                  <a:pt x="160" y="12"/>
                  <a:pt x="188" y="0"/>
                  <a:pt x="222" y="0"/>
                </a:cubicBezTo>
                <a:cubicBezTo>
                  <a:pt x="255" y="0"/>
                  <a:pt x="283" y="12"/>
                  <a:pt x="307" y="36"/>
                </a:cubicBezTo>
                <a:cubicBezTo>
                  <a:pt x="331" y="59"/>
                  <a:pt x="342" y="88"/>
                  <a:pt x="342" y="121"/>
                </a:cubicBezTo>
                <a:cubicBezTo>
                  <a:pt x="342" y="155"/>
                  <a:pt x="331" y="183"/>
                  <a:pt x="307" y="207"/>
                </a:cubicBezTo>
                <a:cubicBezTo>
                  <a:pt x="283" y="231"/>
                  <a:pt x="255" y="242"/>
                  <a:pt x="222" y="242"/>
                </a:cubicBezTo>
                <a:cubicBezTo>
                  <a:pt x="188" y="242"/>
                  <a:pt x="160" y="231"/>
                  <a:pt x="136" y="207"/>
                </a:cubicBezTo>
                <a:close/>
              </a:path>
            </a:pathLst>
          </a:custGeom>
          <a:solidFill>
            <a:schemeClr val="bg2"/>
          </a:solidFill>
          <a:ln w="0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4175882" rtl="0" eaLnBrk="1" latinLnBrk="0" hangingPunct="1">
              <a:defRPr sz="82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87941" algn="l" defTabSz="4175882" rtl="0" eaLnBrk="1" latinLnBrk="0" hangingPunct="1">
              <a:defRPr sz="82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175882" algn="l" defTabSz="4175882" rtl="0" eaLnBrk="1" latinLnBrk="0" hangingPunct="1">
              <a:defRPr sz="82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63823" algn="l" defTabSz="4175882" rtl="0" eaLnBrk="1" latinLnBrk="0" hangingPunct="1">
              <a:defRPr sz="82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351764" algn="l" defTabSz="4175882" rtl="0" eaLnBrk="1" latinLnBrk="0" hangingPunct="1">
              <a:defRPr sz="82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439705" algn="l" defTabSz="4175882" rtl="0" eaLnBrk="1" latinLnBrk="0" hangingPunct="1">
              <a:defRPr sz="82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527646" algn="l" defTabSz="4175882" rtl="0" eaLnBrk="1" latinLnBrk="0" hangingPunct="1">
              <a:defRPr sz="82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615587" algn="l" defTabSz="4175882" rtl="0" eaLnBrk="1" latinLnBrk="0" hangingPunct="1">
              <a:defRPr sz="82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703528" algn="l" defTabSz="4175882" rtl="0" eaLnBrk="1" latinLnBrk="0" hangingPunct="1">
              <a:defRPr sz="82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0" b="1" dirty="0" smtClean="0">
                <a:solidFill>
                  <a:srgbClr val="FFC700"/>
                </a:solidFill>
              </a:rPr>
              <a:t/>
            </a:r>
            <a:br>
              <a:rPr lang="en-US" sz="6000" b="1" dirty="0" smtClean="0">
                <a:solidFill>
                  <a:srgbClr val="FFC700"/>
                </a:solidFill>
              </a:rPr>
            </a:br>
            <a:endParaRPr lang="en-US" sz="6000" b="1" dirty="0" smtClean="0">
              <a:solidFill>
                <a:srgbClr val="FFC700"/>
              </a:solidFill>
            </a:endParaRPr>
          </a:p>
          <a:p>
            <a:pPr algn="ctr"/>
            <a:r>
              <a:rPr lang="en-US" sz="6000" b="1" dirty="0" smtClean="0">
                <a:solidFill>
                  <a:srgbClr val="FFC700"/>
                </a:solidFill>
              </a:rPr>
              <a:t/>
            </a:r>
            <a:br>
              <a:rPr lang="en-US" sz="6000" b="1" dirty="0" smtClean="0">
                <a:solidFill>
                  <a:srgbClr val="FFC700"/>
                </a:solidFill>
              </a:rPr>
            </a:br>
            <a:r>
              <a:rPr lang="en-US" sz="4800" b="1" dirty="0" smtClean="0">
                <a:solidFill>
                  <a:srgbClr val="FFC700"/>
                </a:solidFill>
              </a:rPr>
              <a:t>My photo</a:t>
            </a:r>
            <a:endParaRPr lang="en-US" sz="4800" b="1" dirty="0">
              <a:solidFill>
                <a:srgbClr val="FFC700"/>
              </a:solidFill>
            </a:endParaRPr>
          </a:p>
        </p:txBody>
      </p:sp>
      <p:sp>
        <p:nvSpPr>
          <p:cNvPr id="58" name="Ellipse 57"/>
          <p:cNvSpPr/>
          <p:nvPr/>
        </p:nvSpPr>
        <p:spPr>
          <a:xfrm>
            <a:off x="26558092" y="6539251"/>
            <a:ext cx="258968" cy="341704"/>
          </a:xfrm>
          <a:prstGeom prst="ellipse">
            <a:avLst/>
          </a:prstGeom>
          <a:solidFill>
            <a:srgbClr val="FFC7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087941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175882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263823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8351764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0439705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2527646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615587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6703528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</p:txBody>
      </p:sp>
      <p:sp>
        <p:nvSpPr>
          <p:cNvPr id="59" name="Ellipse 58"/>
          <p:cNvSpPr/>
          <p:nvPr/>
        </p:nvSpPr>
        <p:spPr>
          <a:xfrm>
            <a:off x="27140771" y="6539251"/>
            <a:ext cx="258968" cy="341704"/>
          </a:xfrm>
          <a:prstGeom prst="ellipse">
            <a:avLst/>
          </a:prstGeom>
          <a:solidFill>
            <a:srgbClr val="FFC7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087941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175882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263823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8351764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0439705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2527646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615587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6703528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</p:txBody>
      </p:sp>
      <p:sp>
        <p:nvSpPr>
          <p:cNvPr id="60" name="Mond 59"/>
          <p:cNvSpPr/>
          <p:nvPr/>
        </p:nvSpPr>
        <p:spPr>
          <a:xfrm rot="16383752">
            <a:off x="26758135" y="7208107"/>
            <a:ext cx="404330" cy="718188"/>
          </a:xfrm>
          <a:prstGeom prst="moon">
            <a:avLst/>
          </a:prstGeom>
          <a:solidFill>
            <a:srgbClr val="FFC7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087941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175882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263823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8351764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0439705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2527646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615587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6703528" algn="l" defTabSz="4175882" rtl="0" eaLnBrk="1" latinLnBrk="0" hangingPunct="1">
              <a:defRPr sz="822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203742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1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italic=&quot;1&quot; color=&quot;2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italic=&quot;1&quot; color=&quot;2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italic=&quot;1&quot; color=&quot;2&quot; /&gt;&lt;/element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1&quot; visible=&quot;1&quot; /&gt;&lt;font bold=&quot;1&quot; italic=&quot;1&quot; color=&quot;2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&quot; subtitle=&quot;&quot; sizingModeId=&quot;2&quot; fontSize=&quot;16&quot; startTime=&quot;540&quot; timeFormatId=&quot;1&quot; startItemNo=&quot;1&quot; createSingleAgendaSlide=&quot;0&quot; createSeparatingSlides=&quot;1&quot; createBackupSlide=&quot;0&quot; layoutId=&quot;1_1&quot; createSections=&quot;0&quot; singleSlideId=&quot;&quot; backupSlideId=&quot;&quot; fontSizeAuto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154.6107&quot; /&gt;&lt;column field=&quot;responsible&quot; label=&quot;Responsible&quot; visible=&quot;1&quot; checked=&quot;0&quot; leftSpacing=&quot;0&quot; rightDistribute=&quot;1&quot; dock=&quot;1&quot; rightSpacing=&quot;5.68001E-06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6&quot; dock=&quot;2&quot; /&gt;&lt;column field=&quot;pageno&quot; label=&quot;Page No.&quot; visible=&quot;1&quot; checked=&quot;0&quot; leftSpacing=&quot;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Motivation&quot; agendaSlideId=&quot;4341147a-075a-48d0-8389-21dfdf5fc26f&quot; /&gt;&lt;item duration=&quot;30&quot; level=&quot;1&quot; generateAgendaSlide=&quot;1&quot; showAgendaItem=&quot;1&quot; isBreak=&quot;0&quot; itemNo=&quot;2&quot; subItemNo=&quot;0&quot; topic=&quot;Optimal Portfolios Based on MVP and Today's Setting&quot; agendaSlideId=&quot;bafa115b-c638-4e8a-8dda-33339c9be5d0&quot; /&gt;&lt;item duration=&quot;30&quot; level=&quot;1&quot; generateAgendaSlide=&quot;1&quot; showAgendaItem=&quot;1&quot; isBreak=&quot;0&quot; itemNo=&quot;3&quot; subItemNo=&quot;0&quot; topic=&quot;Distribution of Renewables and Impact on the Residual Load&quot; agendaSlideId=&quot;56a62725-b630-4eea-b762-a4e21421f65a&quot; /&gt;&lt;item duration=&quot;30&quot; level=&quot;1&quot; generateAgendaSlide=&quot;1&quot; showAgendaItem=&quot;1&quot; isBreak=&quot;0&quot; itemNo=&quot;4&quot; subItemNo=&quot;0&quot; topic=&quot;Conclusion and Next Steps&quot; agendaSlideId=&quot;2688650e-ff48-4c36-8955-b4f2630ac4c0&quot; /&gt;&lt;/items&gt;&lt;/agenda&gt;&lt;/contents&gt;&lt;/ee4p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Folienmaster">
  <a:themeElements>
    <a:clrScheme name="Lehrstuhl Energiewirtschaft">
      <a:dk1>
        <a:srgbClr val="0B2A51"/>
      </a:dk1>
      <a:lt1>
        <a:srgbClr val="FFFFFF"/>
      </a:lt1>
      <a:dk2>
        <a:srgbClr val="000000"/>
      </a:dk2>
      <a:lt2>
        <a:srgbClr val="808080"/>
      </a:lt2>
      <a:accent1>
        <a:srgbClr val="54C3EC"/>
      </a:accent1>
      <a:accent2>
        <a:srgbClr val="E87B14"/>
      </a:accent2>
      <a:accent3>
        <a:srgbClr val="51297F"/>
      </a:accent3>
      <a:accent4>
        <a:srgbClr val="811A78"/>
      </a:accent4>
      <a:accent5>
        <a:srgbClr val="007A47"/>
      </a:accent5>
      <a:accent6>
        <a:srgbClr val="22AD36"/>
      </a:accent6>
      <a:hlink>
        <a:srgbClr val="0059A3"/>
      </a:hlink>
      <a:folHlink>
        <a:srgbClr val="54C3EC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9</Words>
  <Application>Microsoft Office PowerPoint</Application>
  <PresentationFormat>Benutzerdefiniert</PresentationFormat>
  <Paragraphs>29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Symbol</vt:lpstr>
      <vt:lpstr>Verdana</vt:lpstr>
      <vt:lpstr>Wingdings</vt:lpstr>
      <vt:lpstr>Folienmaster</vt:lpstr>
      <vt:lpstr>PowerPoint-Präsentation</vt:lpstr>
    </vt:vector>
  </TitlesOfParts>
  <Company>TU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obbie</dc:creator>
  <cp:lastModifiedBy>Hannes Hobbie</cp:lastModifiedBy>
  <cp:revision>913</cp:revision>
  <cp:lastPrinted>2016-12-16T16:32:16Z</cp:lastPrinted>
  <dcterms:created xsi:type="dcterms:W3CDTF">2011-09-19T08:56:31Z</dcterms:created>
  <dcterms:modified xsi:type="dcterms:W3CDTF">2016-12-19T16:52:20Z</dcterms:modified>
</cp:coreProperties>
</file>